
<file path=[Content_Types].xml><?xml version="1.0" encoding="utf-8"?>
<Types xmlns="http://schemas.openxmlformats.org/package/2006/content-types">
  <Default Extension="xml" ContentType="application/xml"/>
  <Default Extension="png" ContentType="image/png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wmf" ContentType="image/x-wm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4.bin" ContentType="application/vnd.openxmlformats-officedocument.oleObject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5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6.bin" ContentType="application/vnd.openxmlformats-officedocument.oleObject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7.bin" ContentType="application/vnd.openxmlformats-officedocument.oleObject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8.bin" ContentType="application/vnd.openxmlformats-officedocument.oleObject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9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</p:sldMasterIdLst>
  <p:notesMasterIdLst>
    <p:notesMasterId r:id="rId12"/>
  </p:notesMasterIdLst>
  <p:sldIdLst>
    <p:sldId id="425" r:id="rId5"/>
    <p:sldId id="432" r:id="rId6"/>
    <p:sldId id="433" r:id="rId7"/>
    <p:sldId id="434" r:id="rId8"/>
    <p:sldId id="435" r:id="rId9"/>
    <p:sldId id="436" r:id="rId10"/>
    <p:sldId id="437" r:id="rId11"/>
  </p:sldIdLst>
  <p:sldSz cx="12192000" cy="6858000"/>
  <p:notesSz cx="6735763" cy="9866313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935" userDrawn="1">
          <p15:clr>
            <a:srgbClr val="A4A3A4"/>
          </p15:clr>
        </p15:guide>
        <p15:guide id="2" orient="horz" pos="799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4020" userDrawn="1">
          <p15:clr>
            <a:srgbClr val="A4A3A4"/>
          </p15:clr>
        </p15:guide>
        <p15:guide id="6" orient="horz" pos="2432" userDrawn="1">
          <p15:clr>
            <a:srgbClr val="A4A3A4"/>
          </p15:clr>
        </p15:guide>
        <p15:guide id="7" orient="horz" pos="2523" userDrawn="1">
          <p15:clr>
            <a:srgbClr val="A4A3A4"/>
          </p15:clr>
        </p15:guide>
        <p15:guide id="8" pos="332" userDrawn="1">
          <p15:clr>
            <a:srgbClr val="A4A3A4"/>
          </p15:clr>
        </p15:guide>
        <p15:guide id="9" pos="7348" userDrawn="1">
          <p15:clr>
            <a:srgbClr val="A4A3A4"/>
          </p15:clr>
        </p15:guide>
        <p15:guide id="11" pos="5533" userDrawn="1">
          <p15:clr>
            <a:srgbClr val="A4A3A4"/>
          </p15:clr>
        </p15:guide>
        <p15:guide id="12" pos="3900" userDrawn="1">
          <p15:clr>
            <a:srgbClr val="A4A3A4"/>
          </p15:clr>
        </p15:guide>
        <p15:guide id="13" pos="37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uzmichev Nikita" initials="KN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4" autoAdjust="0"/>
    <p:restoredTop sz="95332" autoAdjust="0"/>
  </p:normalViewPr>
  <p:slideViewPr>
    <p:cSldViewPr snapToObjects="1" showGuides="1">
      <p:cViewPr varScale="1">
        <p:scale>
          <a:sx n="156" d="100"/>
          <a:sy n="156" d="100"/>
        </p:scale>
        <p:origin x="-392" y="-112"/>
      </p:cViewPr>
      <p:guideLst>
        <p:guide orient="horz" pos="935"/>
        <p:guide orient="horz" pos="799"/>
        <p:guide orient="horz" pos="210"/>
        <p:guide orient="horz" pos="4156"/>
        <p:guide orient="horz" pos="4020"/>
        <p:guide orient="horz" pos="2432"/>
        <p:guide orient="horz" pos="2523"/>
        <p:guide pos="332"/>
        <p:guide pos="7348"/>
        <p:guide pos="5533"/>
        <p:guide pos="3900"/>
        <p:guide pos="37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7.xml"/><Relationship Id="rId12" Type="http://schemas.openxmlformats.org/officeDocument/2006/relationships/notesMaster" Target="notesMasters/notesMaster1.xml"/><Relationship Id="rId13" Type="http://schemas.openxmlformats.org/officeDocument/2006/relationships/printerSettings" Target="printerSettings/printerSettings1.bin"/><Relationship Id="rId14" Type="http://schemas.openxmlformats.org/officeDocument/2006/relationships/tags" Target="tags/tag1.xml"/><Relationship Id="rId15" Type="http://schemas.openxmlformats.org/officeDocument/2006/relationships/commentAuthors" Target="commentAuthors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10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D41BCC-FBCF-4DA2-A76E-96DF29E002ED}" type="datetimeFigureOut">
              <a:rPr lang="en-GB" smtClean="0"/>
              <a:t>06.12.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41D3F9-66B3-46BA-9B37-275406AC96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582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492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0424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479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2825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30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9773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41D3F9-66B3-46BA-9B37-275406AC966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7852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w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w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45000"/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-44450" ty="38100" sx="85000" sy="8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1307870" y="1267730"/>
            <a:ext cx="9576262" cy="430795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447801" y="1411615"/>
            <a:ext cx="9296400" cy="4034770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5135880" y="1267730"/>
            <a:ext cx="1920240" cy="731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5250180" y="1267730"/>
            <a:ext cx="1691640" cy="645295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61708" y="2091263"/>
            <a:ext cx="9068586" cy="2590800"/>
          </a:xfrm>
        </p:spPr>
        <p:txBody>
          <a:bodyPr tIns="45720" bIns="45720" anchor="ctr">
            <a:noAutofit/>
          </a:bodyPr>
          <a:lstStyle>
            <a:lvl1pPr algn="ctr">
              <a:lnSpc>
                <a:spcPct val="83000"/>
              </a:lnSpc>
              <a:defRPr lang="en-US" sz="7200" b="0" kern="1200" cap="all" spc="-1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62100" y="4682062"/>
            <a:ext cx="9070848" cy="457201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600" spc="8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5318760" y="1341255"/>
            <a:ext cx="1554480" cy="527213"/>
          </a:xfrm>
        </p:spPr>
        <p:txBody>
          <a:bodyPr/>
          <a:lstStyle>
            <a:lvl1pPr algn="ctr">
              <a:defRPr sz="13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DDA51639-B2D6-4652-B8C3-1B4C224A7BAF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>
          <a:xfrm>
            <a:off x="1453896" y="5211060"/>
            <a:ext cx="5905500" cy="228600"/>
          </a:xfrm>
        </p:spPr>
        <p:txBody>
          <a:bodyPr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>
          <a:xfrm>
            <a:off x="8606919" y="5212080"/>
            <a:ext cx="2111881" cy="2286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69179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A6AA8-A04B-4104-9AE2-BD48D340E27F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406861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1600" y="762000"/>
            <a:ext cx="2362200" cy="5257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762000"/>
            <a:ext cx="8077200" cy="525780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0BF79-FAC6-4A96-8DE1-F7B82E2E1652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076250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527051" y="1484316"/>
            <a:ext cx="5473700" cy="489743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3"/>
          </p:nvPr>
        </p:nvSpPr>
        <p:spPr>
          <a:xfrm>
            <a:off x="6191251" y="1484316"/>
            <a:ext cx="5473700" cy="489743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83191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333377"/>
            <a:ext cx="8257249" cy="503336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191251" y="1268416"/>
            <a:ext cx="5473700" cy="51133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527051" y="1268416"/>
            <a:ext cx="5473700" cy="511333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314771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333379"/>
            <a:ext cx="8257249" cy="5032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2"/>
          </p:nvPr>
        </p:nvSpPr>
        <p:spPr>
          <a:xfrm>
            <a:off x="6191251" y="1772816"/>
            <a:ext cx="5473700" cy="4608934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191251" y="1268416"/>
            <a:ext cx="5473700" cy="504403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0" indent="0">
              <a:spcBef>
                <a:spcPts val="3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27051" y="1268416"/>
            <a:ext cx="5473700" cy="511333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25808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0" y="1268416"/>
            <a:ext cx="12192000" cy="558958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333379"/>
            <a:ext cx="8257249" cy="5032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87475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7051" y="333378"/>
            <a:ext cx="8257116" cy="3095625"/>
          </a:xfrm>
        </p:spPr>
        <p:txBody>
          <a:bodyPr tIns="0"/>
          <a:lstStyle>
            <a:lvl1pPr algn="l">
              <a:lnSpc>
                <a:spcPct val="95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051" y="5445125"/>
            <a:ext cx="8257116" cy="1008064"/>
          </a:xfrm>
        </p:spPr>
        <p:txBody>
          <a:bodyPr bIns="0" anchor="b" anchorCtr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0" y="3"/>
            <a:ext cx="12192000" cy="544512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600" y="5995478"/>
            <a:ext cx="2028285" cy="44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5077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C95EA8A-C315-4CCA-A32E-1ADF240B8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767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5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333379"/>
            <a:ext cx="8257249" cy="9350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27051" y="1700808"/>
            <a:ext cx="11137900" cy="4680942"/>
          </a:xfrm>
        </p:spPr>
        <p:txBody>
          <a:bodyPr/>
          <a:lstStyle>
            <a:lvl1pPr marL="342900" indent="-342900">
              <a:spcBef>
                <a:spcPts val="350"/>
              </a:spcBef>
              <a:buFont typeface="+mj-lt"/>
              <a:buAutoNum type="arabicPeriod"/>
              <a:defRPr/>
            </a:lvl1pPr>
            <a:lvl2pPr marL="342000" indent="0">
              <a:defRPr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  <a:lvl6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6pPr>
            <a:lvl7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7pPr>
            <a:lvl8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8pPr>
            <a:lvl9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94496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Head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" t="519" r="600" b="74926"/>
          <a:stretch/>
        </p:blipFill>
        <p:spPr>
          <a:xfrm>
            <a:off x="0" y="0"/>
            <a:ext cx="12192000" cy="17008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333379"/>
            <a:ext cx="8257249" cy="9350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27051" y="1988840"/>
            <a:ext cx="11137900" cy="4392910"/>
          </a:xfrm>
        </p:spPr>
        <p:txBody>
          <a:bodyPr/>
          <a:lstStyle>
            <a:lvl1pPr marL="342900" indent="-342900">
              <a:spcBef>
                <a:spcPts val="350"/>
              </a:spcBef>
              <a:buFont typeface="+mj-lt"/>
              <a:buAutoNum type="arabicPeriod"/>
              <a:defRPr/>
            </a:lvl1pPr>
            <a:lvl2pPr marL="342000" indent="0">
              <a:defRPr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  <a:lvl6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6pPr>
            <a:lvl7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7pPr>
            <a:lvl8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8pPr>
            <a:lvl9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600" y="403203"/>
            <a:ext cx="2028285" cy="44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6455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2" y="333379"/>
            <a:ext cx="8257249" cy="5032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27051" y="1268416"/>
            <a:ext cx="11137900" cy="5113337"/>
          </a:xfrm>
        </p:spPr>
        <p:txBody>
          <a:bodyPr/>
          <a:lstStyle>
            <a:lvl1pPr marL="0" indent="0">
              <a:spcBef>
                <a:spcPts val="0"/>
              </a:spcBef>
              <a:buFont typeface="+mj-lt"/>
              <a:buNone/>
              <a:defRPr b="0"/>
            </a:lvl1pPr>
            <a:lvl2pPr marL="0" indent="0">
              <a:spcBef>
                <a:spcPts val="0"/>
              </a:spcBef>
              <a:buFont typeface="+mj-lt"/>
              <a:buNone/>
              <a:defRPr/>
            </a:lvl2pPr>
            <a:lvl3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5pPr>
            <a:lvl6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6pPr>
            <a:lvl7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7pPr>
            <a:lvl8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8pPr>
            <a:lvl9pPr marL="0">
              <a:spcBef>
                <a:spcPts val="0"/>
              </a:spcBef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85627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F5DD9-2C52-442D-92E2-8072C0C3D7CD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29644728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45000"/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tile tx="-44450" ty="38100" sx="85000" sy="8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1307870" y="1267730"/>
            <a:ext cx="9576262" cy="430795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447800" y="1411615"/>
            <a:ext cx="9296400" cy="4034770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5135880" y="1267730"/>
            <a:ext cx="1920240" cy="7315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5250180" y="1267730"/>
            <a:ext cx="1691640" cy="645295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3623" y="2094309"/>
            <a:ext cx="9070848" cy="2587752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lang="en-US" sz="7200" kern="1200" cap="all" spc="-1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63624" y="4682062"/>
            <a:ext cx="9070848" cy="45720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21808" y="1344502"/>
            <a:ext cx="1554480" cy="530352"/>
          </a:xfrm>
        </p:spPr>
        <p:txBody>
          <a:bodyPr/>
          <a:lstStyle>
            <a:lvl1pPr algn="ctr">
              <a:defRPr lang="en-US" sz="13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44961B7-6B89-48AB-966F-622E2788EECC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53553" y="5211060"/>
            <a:ext cx="5907024" cy="228600"/>
          </a:xfrm>
        </p:spPr>
        <p:txBody>
          <a:bodyPr/>
          <a:lstStyle>
            <a:lvl1pPr algn="l">
              <a:defRPr/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504" y="5211060"/>
            <a:ext cx="2112264" cy="228600"/>
          </a:xfrm>
        </p:spPr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26161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2103120"/>
            <a:ext cx="4754880" cy="374904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0320" y="2103120"/>
            <a:ext cx="4754880" cy="374904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3D6FB-79CC-4683-A046-BBE785BA1BED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2606177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074334"/>
            <a:ext cx="475488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55898"/>
            <a:ext cx="475488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3368" y="2074334"/>
            <a:ext cx="475488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00" b="0">
                <a:solidFill>
                  <a:schemeClr val="tx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3368" y="2756581"/>
            <a:ext cx="475488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B3E8-48F1-4B23-8498-D8A04A81EC9C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3573346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90D90-AA62-404D-A741-635B4370F9CB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8594734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002E4-6836-46D1-9DBB-3C27C0DD3A89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92801504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45529" y="237744"/>
            <a:ext cx="8531352" cy="63825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/>
          <p:cNvSpPr/>
          <p:nvPr/>
        </p:nvSpPr>
        <p:spPr>
          <a:xfrm>
            <a:off x="9020386" y="237744"/>
            <a:ext cx="2926080" cy="6382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6400" y="607392"/>
            <a:ext cx="2430780" cy="1645920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cap="none" spc="0" baseline="0" dirty="0">
                <a:solidFill>
                  <a:srgbClr val="FFFFFF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609600"/>
            <a:ext cx="7772400" cy="5334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96400" y="2286000"/>
            <a:ext cx="2430780" cy="35052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F131DD-A141-4471-BCF9-C6073EDD7E20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en-GB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10393677" y="6223002"/>
            <a:ext cx="1463040" cy="27432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2" name="Rectangle 11"/>
          <p:cNvSpPr/>
          <p:nvPr/>
        </p:nvSpPr>
        <p:spPr>
          <a:xfrm>
            <a:off x="9157546" y="374904"/>
            <a:ext cx="2651760" cy="6108192"/>
          </a:xfrm>
          <a:prstGeom prst="rect">
            <a:avLst/>
          </a:prstGeom>
          <a:noFill/>
          <a:ln w="635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62992688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9020386" y="237744"/>
            <a:ext cx="2926080" cy="6382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96400" y="603504"/>
            <a:ext cx="2432304" cy="1645920"/>
          </a:xfrm>
        </p:spPr>
        <p:txBody>
          <a:bodyPr anchor="b">
            <a:noAutofit/>
          </a:bodyPr>
          <a:lstStyle>
            <a:lvl1pPr algn="l">
              <a:defRPr sz="28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8599" y="237744"/>
            <a:ext cx="8531352" cy="6382512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96400" y="2286000"/>
            <a:ext cx="2432304" cy="350215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12700" dist="635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AB334A90-EB03-42F3-8859-2C2B2724C058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r" defTabSz="914400" rtl="0" eaLnBrk="1" latinLnBrk="0" hangingPunct="1">
              <a:defRPr lang="en-US" sz="1000" kern="1200" dirty="0">
                <a:solidFill>
                  <a:srgbClr val="FFFFFF"/>
                </a:solidFill>
                <a:effectLst>
                  <a:outerShdw blurRad="12700" dist="635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396728" y="6227064"/>
            <a:ext cx="1463040" cy="27432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Rectangle 9"/>
          <p:cNvSpPr/>
          <p:nvPr/>
        </p:nvSpPr>
        <p:spPr>
          <a:xfrm>
            <a:off x="9157546" y="374904"/>
            <a:ext cx="2651760" cy="6108192"/>
          </a:xfrm>
          <a:prstGeom prst="rect">
            <a:avLst/>
          </a:prstGeom>
          <a:noFill/>
          <a:ln w="635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73720915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21" Type="http://schemas.openxmlformats.org/officeDocument/2006/relationships/vmlDrawing" Target="../drawings/vmlDrawing1.vml"/><Relationship Id="rId22" Type="http://schemas.openxmlformats.org/officeDocument/2006/relationships/tags" Target="../tags/tag2.xml"/><Relationship Id="rId23" Type="http://schemas.openxmlformats.org/officeDocument/2006/relationships/oleObject" Target="../embeddings/oleObject1.bin"/><Relationship Id="rId24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4696" y="237744"/>
            <a:ext cx="11722608" cy="6382512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</a:ln>
          <a:effectLst>
            <a:softEdge rad="0"/>
          </a:effectLst>
        </p:spPr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642594"/>
            <a:ext cx="100584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103120"/>
            <a:ext cx="10058400" cy="39319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74320" y="6307672"/>
            <a:ext cx="274320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BC48EC7-AF6A-48D3-8284-14BACBEBDD84}" type="datetimeFigureOut">
              <a:rPr lang="en-US" dirty="0"/>
              <a:t>06.12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89960" y="6307672"/>
            <a:ext cx="52120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9880" y="6307672"/>
            <a:ext cx="146304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F552CD3-3E89-4B40-8B80-274831EEBD49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A53A075-D96C-4FF6-AC39-7854912466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38225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2" name="think-cell Slide" r:id="rId23" imgW="359" imgH="358" progId="TCLayout.ActiveDocument.1">
                  <p:embed/>
                </p:oleObj>
              </mc:Choice>
              <mc:Fallback>
                <p:oleObj name="think-cell Slide" r:id="rId23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6A53A075-D96C-4FF6-AC39-7854912466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8947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60" r:id="rId12"/>
    <p:sldLayoutId id="2147483663" r:id="rId13"/>
    <p:sldLayoutId id="2147483665" r:id="rId14"/>
    <p:sldLayoutId id="2147483664" r:id="rId15"/>
    <p:sldLayoutId id="2147483668" r:id="rId16"/>
    <p:sldLayoutId id="2147483670" r:id="rId17"/>
    <p:sldLayoutId id="2147483672" r:id="rId18"/>
    <p:sldLayoutId id="2147483671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800" kern="1200" cap="none" spc="0" baseline="0" dirty="0"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2432" userDrawn="1">
          <p15:clr>
            <a:srgbClr val="F26B43"/>
          </p15:clr>
        </p15:guide>
        <p15:guide id="2" pos="7348" userDrawn="1">
          <p15:clr>
            <a:srgbClr val="F26B43"/>
          </p15:clr>
        </p15:guide>
        <p15:guide id="3" orient="horz" pos="210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  <p15:guide id="5" orient="horz" pos="935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  <p15:guide id="7" orient="horz" pos="4156" userDrawn="1">
          <p15:clr>
            <a:srgbClr val="F26B43"/>
          </p15:clr>
        </p15:guide>
        <p15:guide id="8" pos="332" userDrawn="1">
          <p15:clr>
            <a:srgbClr val="F26B43"/>
          </p15:clr>
        </p15:guide>
        <p15:guide id="9" orient="horz" pos="2523" userDrawn="1">
          <p15:clr>
            <a:srgbClr val="F26B43"/>
          </p15:clr>
        </p15:guide>
        <p15:guide id="10" pos="3780" userDrawn="1">
          <p15:clr>
            <a:srgbClr val="F26B43"/>
          </p15:clr>
        </p15:guide>
        <p15:guide id="11" pos="39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2.emf"/><Relationship Id="rId8" Type="http://schemas.openxmlformats.org/officeDocument/2006/relationships/image" Target="../media/image7.jpeg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5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6.bin"/><Relationship Id="rId7" Type="http://schemas.openxmlformats.org/officeDocument/2006/relationships/image" Target="../media/image2.emf"/><Relationship Id="rId8" Type="http://schemas.openxmlformats.org/officeDocument/2006/relationships/image" Target="../media/image8.jpeg"/><Relationship Id="rId1" Type="http://schemas.openxmlformats.org/officeDocument/2006/relationships/vmlDrawing" Target="../drawings/vmlDrawing6.vml"/><Relationship Id="rId2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7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7.vml"/><Relationship Id="rId2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6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2.emf"/><Relationship Id="rId8" Type="http://schemas.openxmlformats.org/officeDocument/2006/relationships/image" Target="../media/image9.jpg"/><Relationship Id="rId1" Type="http://schemas.openxmlformats.org/officeDocument/2006/relationships/vmlDrawing" Target="../drawings/vmlDrawing8.vml"/><Relationship Id="rId2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7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2.emf"/><Relationship Id="rId1" Type="http://schemas.openxmlformats.org/officeDocument/2006/relationships/vmlDrawing" Target="../drawings/vmlDrawing9.vml"/><Relationship Id="rId2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462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58273" y="1828800"/>
            <a:ext cx="104394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«</a:t>
            </a:r>
            <a:r>
              <a:rPr lang="ru-RU" sz="4000" b="1" dirty="0" err="1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Flash</a:t>
            </a:r>
            <a:r>
              <a:rPr lang="ru-RU" sz="4000" b="1" dirty="0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 </a:t>
            </a:r>
            <a:r>
              <a:rPr lang="ru-RU" sz="4000" b="1" dirty="0" err="1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Fiction</a:t>
            </a:r>
            <a:r>
              <a:rPr lang="ru-RU" sz="4000" b="1" dirty="0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», как </a:t>
            </a:r>
            <a:r>
              <a:rPr lang="ru-RU" sz="4000" b="1" dirty="0" smtClean="0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современный формат креативного письма, в работе со студентами </a:t>
            </a:r>
            <a:r>
              <a:rPr lang="ru-RU" sz="4000" b="1" dirty="0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гуманитарных </a:t>
            </a:r>
            <a:r>
              <a:rPr lang="ru-RU" sz="4000" b="1" dirty="0" smtClean="0">
                <a:solidFill>
                  <a:schemeClr val="tx2">
                    <a:lumMod val="50000"/>
                  </a:schemeClr>
                </a:solidFill>
                <a:latin typeface="Lucida Grande CY"/>
                <a:cs typeface="Lucida Grande CY"/>
              </a:rPr>
              <a:t>специальностей</a:t>
            </a:r>
            <a:endParaRPr lang="ru-RU" sz="4000" dirty="0">
              <a:solidFill>
                <a:schemeClr val="tx2">
                  <a:lumMod val="50000"/>
                </a:schemeClr>
              </a:solidFill>
              <a:latin typeface="Lucida Grande CY"/>
              <a:cs typeface="Lucida Grande CY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301673" y="5334000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spcAft>
                <a:spcPts val="0"/>
              </a:spcAft>
            </a:pPr>
            <a:r>
              <a:rPr lang="ru-RU" dirty="0">
                <a:latin typeface="Lucida Grande CY"/>
                <a:ea typeface="MS Mincho"/>
                <a:cs typeface="Lucida Grande CY"/>
              </a:rPr>
              <a:t>Старший преподаватель кафедры</a:t>
            </a:r>
            <a:endParaRPr lang="ru-RU" sz="1600" dirty="0">
              <a:latin typeface="Lucida Grande CY"/>
              <a:ea typeface="MS Mincho"/>
              <a:cs typeface="Lucida Grande CY"/>
            </a:endParaRPr>
          </a:p>
          <a:p>
            <a:pPr algn="r">
              <a:spcAft>
                <a:spcPts val="0"/>
              </a:spcAft>
            </a:pPr>
            <a:r>
              <a:rPr lang="ru-RU" dirty="0">
                <a:latin typeface="Lucida Grande CY"/>
                <a:ea typeface="MS Mincho"/>
                <a:cs typeface="Lucida Grande CY"/>
              </a:rPr>
              <a:t>Иностранных языков </a:t>
            </a:r>
            <a:r>
              <a:rPr lang="ru-RU" dirty="0" err="1">
                <a:latin typeface="Lucida Grande CY"/>
                <a:ea typeface="MS Mincho"/>
                <a:cs typeface="Lucida Grande CY"/>
              </a:rPr>
              <a:t>ФМОПиЗР</a:t>
            </a:r>
            <a:r>
              <a:rPr lang="ru-RU" dirty="0">
                <a:latin typeface="Lucida Grande CY"/>
                <a:ea typeface="MS Mincho"/>
                <a:cs typeface="Lucida Grande CY"/>
              </a:rPr>
              <a:t> ИАИ РГГУ</a:t>
            </a:r>
            <a:endParaRPr lang="ru-RU" sz="1600" dirty="0">
              <a:latin typeface="Lucida Grande CY"/>
              <a:ea typeface="MS Mincho"/>
              <a:cs typeface="Lucida Grande CY"/>
            </a:endParaRPr>
          </a:p>
          <a:p>
            <a:pPr algn="r">
              <a:spcAft>
                <a:spcPts val="0"/>
              </a:spcAft>
            </a:pPr>
            <a:r>
              <a:rPr lang="ru-RU" dirty="0">
                <a:latin typeface="Lucida Grande CY"/>
                <a:ea typeface="MS Mincho"/>
                <a:cs typeface="Lucida Grande CY"/>
              </a:rPr>
              <a:t>Кузьмичева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dirty="0">
                <a:latin typeface="Lucida Grande CY"/>
                <a:ea typeface="MS Mincho"/>
                <a:cs typeface="Lucida Grande CY"/>
              </a:rPr>
              <a:t>Е.Г.</a:t>
            </a:r>
            <a:endParaRPr lang="ru-RU" sz="1600" dirty="0">
              <a:effectLst/>
              <a:latin typeface="Lucida Grande CY"/>
              <a:ea typeface="MS Mincho"/>
              <a:cs typeface="Lucida Grande CY"/>
            </a:endParaRPr>
          </a:p>
        </p:txBody>
      </p:sp>
    </p:spTree>
    <p:extLst>
      <p:ext uri="{BB962C8B-B14F-4D97-AF65-F5344CB8AC3E}">
        <p14:creationId xmlns:p14="http://schemas.microsoft.com/office/powerpoint/2010/main" val="3525265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7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4400" y="1524000"/>
            <a:ext cx="5791200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«</a:t>
            </a:r>
            <a:r>
              <a:rPr lang="ru-RU" sz="2400" b="1" dirty="0" err="1" smtClean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lash</a:t>
            </a:r>
            <a:r>
              <a:rPr lang="ru-RU" sz="2400" b="1" dirty="0" smtClean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 </a:t>
            </a:r>
            <a:r>
              <a:rPr lang="ru-RU" sz="2400" b="1" dirty="0" err="1" smtClean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400" b="1" dirty="0" smtClean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» /“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micro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 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400" b="1" dirty="0" smtClean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”, 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“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nanofiction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”/ </a:t>
            </a:r>
            <a:r>
              <a:rPr lang="ru-RU" sz="2400" b="1" dirty="0">
                <a:latin typeface="Lucida Grande CY"/>
                <a:ea typeface="MS Mincho"/>
                <a:cs typeface="Lucida Grande CY"/>
              </a:rPr>
              <a:t>- очень-очень короткий рассказ 250-1000 </a:t>
            </a:r>
            <a:r>
              <a:rPr lang="ru-RU" sz="2400" b="1" dirty="0" smtClean="0">
                <a:latin typeface="Lucida Grande CY"/>
                <a:ea typeface="MS Mincho"/>
                <a:cs typeface="Lucida Grande CY"/>
              </a:rPr>
              <a:t>слов</a:t>
            </a:r>
            <a:endParaRPr lang="en-US" sz="2400" b="1" dirty="0" smtClean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endParaRPr lang="ru-RU" sz="24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latin typeface="Lucida Grande CY"/>
                <a:ea typeface="MS Mincho"/>
                <a:cs typeface="Lucida Grande CY"/>
              </a:rPr>
              <a:t>Как самостоятельный жанр, появился в 1986 г</a:t>
            </a:r>
            <a:r>
              <a:rPr lang="ru-RU" sz="2400" b="1" dirty="0" smtClean="0">
                <a:latin typeface="Lucida Grande CY"/>
                <a:ea typeface="MS Mincho"/>
                <a:cs typeface="Lucida Grande CY"/>
              </a:rPr>
              <a:t>.</a:t>
            </a:r>
            <a:endParaRPr lang="ru-RU" sz="2400" b="1" dirty="0">
              <a:latin typeface="Lucida Grande CY"/>
              <a:ea typeface="MS Mincho"/>
              <a:cs typeface="Lucida Grande CY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0" y="158750"/>
            <a:ext cx="4044156" cy="647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962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8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219200" y="1600200"/>
            <a:ext cx="8227291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latin typeface="Lucida Grande CY"/>
                <a:ea typeface="MS Mincho"/>
                <a:cs typeface="Lucida Grande CY"/>
              </a:rPr>
              <a:t>В наши дни, с развитием интернета, короткие тексты, на прочтение которых уходит не больше 5 минут, стали очень  популярны, а искусство их написания чрезвычайно </a:t>
            </a:r>
            <a:r>
              <a:rPr lang="ru-RU" sz="2400" b="1" dirty="0" smtClean="0">
                <a:latin typeface="Lucida Grande CY"/>
                <a:ea typeface="MS Mincho"/>
                <a:cs typeface="Lucida Grande CY"/>
              </a:rPr>
              <a:t>востребованным.</a:t>
            </a:r>
            <a:endParaRPr lang="ru-RU" sz="2400" b="1" dirty="0">
              <a:latin typeface="Lucida Grande CY"/>
              <a:ea typeface="MS Mincho"/>
              <a:cs typeface="Lucida Grande CY"/>
            </a:endParaRPr>
          </a:p>
        </p:txBody>
      </p:sp>
    </p:spTree>
    <p:extLst>
      <p:ext uri="{BB962C8B-B14F-4D97-AF65-F5344CB8AC3E}">
        <p14:creationId xmlns:p14="http://schemas.microsoft.com/office/powerpoint/2010/main" val="3116636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2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" y="533400"/>
            <a:ext cx="7232650" cy="4544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Отличительные черты 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lash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  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 :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b="1" dirty="0">
                <a:latin typeface="Lucida Grande CY"/>
                <a:ea typeface="MS Mincho"/>
                <a:cs typeface="Lucida Grande CY"/>
              </a:rPr>
              <a:t>•</a:t>
            </a:r>
            <a:r>
              <a:rPr lang="ru-RU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	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объем, как правило, менее 1000 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слов</a:t>
            </a:r>
            <a:endParaRPr lang="ru-RU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b="1" dirty="0">
                <a:latin typeface="Lucida Grande CY"/>
                <a:ea typeface="MS Mincho"/>
                <a:cs typeface="Lucida Grande CY"/>
              </a:rPr>
              <a:t>•	сюжет и четкую структуру: начало, середина и конец, сюжет строится вокруг одного 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героя (</a:t>
            </a:r>
            <a:r>
              <a:rPr lang="ru-RU" b="1" dirty="0" err="1" smtClean="0">
                <a:latin typeface="Lucida Grande CY"/>
                <a:ea typeface="MS Mincho"/>
                <a:cs typeface="Lucida Grande CY"/>
              </a:rPr>
              <a:t>one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character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in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focus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)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b="1" dirty="0">
                <a:latin typeface="Lucida Grande CY"/>
                <a:ea typeface="MS Mincho"/>
                <a:cs typeface="Lucida Grande CY"/>
              </a:rPr>
              <a:t>•	история начинается как-бы с 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середины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(</a:t>
            </a:r>
            <a:r>
              <a:rPr lang="ru-RU" b="1" dirty="0" err="1" smtClean="0">
                <a:latin typeface="Lucida Grande CY"/>
                <a:ea typeface="MS Mincho"/>
                <a:cs typeface="Lucida Grande CY"/>
              </a:rPr>
              <a:t>start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late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,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end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early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)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b="1" dirty="0">
                <a:latin typeface="Lucida Grande CY"/>
                <a:ea typeface="MS Mincho"/>
                <a:cs typeface="Lucida Grande CY"/>
              </a:rPr>
              <a:t>•	неожиданная развязка или обманутые 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ожидания (</a:t>
            </a:r>
            <a:r>
              <a:rPr lang="ru-RU" b="1" dirty="0" err="1" smtClean="0">
                <a:latin typeface="Lucida Grande CY"/>
                <a:ea typeface="MS Mincho"/>
                <a:cs typeface="Lucida Grande CY"/>
              </a:rPr>
              <a:t>hook</a:t>
            </a:r>
            <a:r>
              <a:rPr lang="ru-RU" b="1" dirty="0" smtClean="0">
                <a:latin typeface="Lucida Grande CY"/>
                <a:ea typeface="MS Mincho"/>
                <a:cs typeface="Lucida Grande CY"/>
              </a:rPr>
              <a:t> </a:t>
            </a:r>
            <a:r>
              <a:rPr lang="ru-RU" b="1" dirty="0" err="1">
                <a:latin typeface="Lucida Grande CY"/>
                <a:ea typeface="MS Mincho"/>
                <a:cs typeface="Lucida Grande CY"/>
              </a:rPr>
              <a:t>ending</a:t>
            </a:r>
            <a:r>
              <a:rPr lang="ru-RU" b="1" dirty="0">
                <a:latin typeface="Lucida Grande CY"/>
                <a:ea typeface="MS Mincho"/>
                <a:cs typeface="Lucida Grande CY"/>
              </a:rPr>
              <a:t>)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b="1" dirty="0">
                <a:latin typeface="Lucida Grande CY"/>
                <a:ea typeface="MS Mincho"/>
                <a:cs typeface="Lucida Grande CY"/>
              </a:rPr>
              <a:t>•	максимальное 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эмоциональное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воздействие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9424" y="173436"/>
            <a:ext cx="4303976" cy="645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5863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7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0" y="716910"/>
            <a:ext cx="9381836" cy="4867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Способы использования “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lash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 </a:t>
            </a:r>
            <a:r>
              <a:rPr lang="ru-RU" sz="24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” в работе со студентами: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чтение и анализ структуры и подтекстов лучших образцов жанра “</a:t>
            </a:r>
            <a:r>
              <a:rPr lang="ru-RU" sz="2000" b="1" dirty="0" err="1">
                <a:latin typeface="Lucida Grande CY"/>
                <a:ea typeface="MS Mincho"/>
                <a:cs typeface="Lucida Grande CY"/>
              </a:rPr>
              <a:t>flash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sz="2000" b="1" dirty="0" err="1"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”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анализ языковых средств, создающих художественное впечатление и эмоциональное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воздействие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художественный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перевод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написание короткого рассказа на основе активной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лексики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конкурс очень короткого рассказа в “</a:t>
            </a:r>
            <a:r>
              <a:rPr lang="ru-RU" sz="2000" b="1" dirty="0" err="1">
                <a:latin typeface="Lucida Grande CY"/>
                <a:ea typeface="MS Mincho"/>
                <a:cs typeface="Lucida Grande CY"/>
              </a:rPr>
              <a:t>flash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 </a:t>
            </a:r>
            <a:r>
              <a:rPr lang="ru-RU" sz="2000" b="1" dirty="0" err="1"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” объемом в 250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слов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</p:txBody>
      </p:sp>
    </p:spTree>
    <p:extLst>
      <p:ext uri="{BB962C8B-B14F-4D97-AF65-F5344CB8AC3E}">
        <p14:creationId xmlns:p14="http://schemas.microsoft.com/office/powerpoint/2010/main" val="4125255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0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81000" y="457200"/>
            <a:ext cx="7439891" cy="5791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Почему креативное письмо в формате “</a:t>
            </a:r>
            <a:r>
              <a:rPr lang="ru-RU" sz="20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lash</a:t>
            </a:r>
            <a:r>
              <a:rPr lang="ru-RU" sz="20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 </a:t>
            </a:r>
            <a:r>
              <a:rPr lang="ru-RU" sz="2000" b="1" dirty="0" err="1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fiction</a:t>
            </a:r>
            <a:r>
              <a:rPr lang="ru-RU" sz="20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” представляется подходящим для студентов гуманитарных специальностей: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latin typeface="Lucida Grande CY"/>
                <a:ea typeface="MS Mincho"/>
                <a:cs typeface="Lucida Grande CY"/>
              </a:rPr>
              <a:t>•</a:t>
            </a:r>
            <a:r>
              <a:rPr lang="ru-RU" sz="2800" b="1" dirty="0">
                <a:latin typeface="Lucida Grande CY"/>
                <a:ea typeface="MS Mincho"/>
                <a:cs typeface="Lucida Grande CY"/>
              </a:rPr>
              <a:t>	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достаточный уровень владения языком 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потребность в творческой работе и реализации литературных талантов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</a:t>
            </a:r>
            <a:r>
              <a:rPr lang="ru-RU" sz="2000" b="1" dirty="0" err="1">
                <a:latin typeface="Lucida Grande CY"/>
                <a:ea typeface="MS Mincho"/>
                <a:cs typeface="Lucida Grande CY"/>
              </a:rPr>
              <a:t>соревновательность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разумный объем для пишущего, проверяющего и слушающего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кажущаяся простота создает «ситуацию успеха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»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latin typeface="Lucida Grande CY"/>
                <a:ea typeface="MS Mincho"/>
                <a:cs typeface="Lucida Grande CY"/>
              </a:rPr>
              <a:t>•	осознанное совершенствование языкового уровня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0891" y="2088654"/>
            <a:ext cx="41148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605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3D923A6-70BD-439C-ACEC-9416A127A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4"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93D923A6-70BD-439C-ACEC-9416A127A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5F87070B-7B10-44FC-9501-229EBB4915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0" y="1202316"/>
            <a:ext cx="88392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2400" b="1" dirty="0">
                <a:solidFill>
                  <a:schemeClr val="tx2"/>
                </a:solidFill>
                <a:latin typeface="Lucida Grande CY"/>
                <a:ea typeface="MS Mincho"/>
                <a:cs typeface="Lucida Grande CY"/>
              </a:rPr>
              <a:t>Креативное письменное  задание в четко заданном формате является:</a:t>
            </a:r>
          </a:p>
          <a:p>
            <a:pPr marL="342900" indent="-3429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высоко 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мотивирующим </a:t>
            </a:r>
          </a:p>
          <a:p>
            <a:pPr marL="342900" indent="-3429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приводит 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к качественному сдвигу в уровне владения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языком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  <a:p>
            <a:pPr marL="342900" indent="-3429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умение 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написания короткого художественного текста, чрезвычайно востребовано на современном рынке труда, в области продвижения в </a:t>
            </a:r>
            <a:r>
              <a:rPr lang="ru-RU" sz="2000" b="1" dirty="0" err="1">
                <a:latin typeface="Lucida Grande CY"/>
                <a:ea typeface="MS Mincho"/>
                <a:cs typeface="Lucida Grande CY"/>
              </a:rPr>
              <a:t>соцсетях</a:t>
            </a:r>
            <a:r>
              <a:rPr lang="ru-RU" sz="2000" b="1" dirty="0">
                <a:latin typeface="Lucida Grande CY"/>
                <a:ea typeface="MS Mincho"/>
                <a:cs typeface="Lucida Grande CY"/>
              </a:rPr>
              <a:t>, ведении личных блогов, работе </a:t>
            </a:r>
            <a:r>
              <a:rPr lang="ru-RU" sz="2000" b="1" dirty="0" smtClean="0">
                <a:latin typeface="Lucida Grande CY"/>
                <a:ea typeface="MS Mincho"/>
                <a:cs typeface="Lucida Grande CY"/>
              </a:rPr>
              <a:t>копирайтеров</a:t>
            </a:r>
            <a:endParaRPr lang="ru-RU" sz="2000" b="1" dirty="0">
              <a:latin typeface="Lucida Grande CY"/>
              <a:ea typeface="MS Mincho"/>
              <a:cs typeface="Lucida Grande CY"/>
            </a:endParaRPr>
          </a:p>
        </p:txBody>
      </p:sp>
    </p:spTree>
    <p:extLst>
      <p:ext uri="{BB962C8B-B14F-4D97-AF65-F5344CB8AC3E}">
        <p14:creationId xmlns:p14="http://schemas.microsoft.com/office/powerpoint/2010/main" val="8388027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5.99827808296351072670E+00&quot;&gt;&lt;m_msothmcolidx val=&quot;0&quot;/&gt;&lt;m_rgb r=&quot;FD&quot; g=&quot;00&quot; b=&quot;00&quot;/&gt;&lt;m_nBrightness val=&quot;0&quot;/&gt;&lt;/elem&gt;&lt;elem m_fUsage=&quot;2.14870172818464943987E+00&quot;&gt;&lt;m_msothmcolidx val=&quot;0&quot;/&gt;&lt;m_rgb r=&quot;21&quot; g=&quot;B5&quot; b=&quot;11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z9qoXCSd.hNujwOzaxO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Savon">
      <a:dk1>
        <a:sysClr val="windowText" lastClr="000000"/>
      </a:dk1>
      <a:lt1>
        <a:sysClr val="window" lastClr="FFFFFF"/>
      </a:lt1>
      <a:dk2>
        <a:srgbClr val="1485A4"/>
      </a:dk2>
      <a:lt2>
        <a:srgbClr val="E3DED1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F49100"/>
      </a:hlink>
      <a:folHlink>
        <a:srgbClr val="739D9B"/>
      </a:folHlink>
    </a:clrScheme>
    <a:fontScheme name="Savon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2000"/>
                <a:satMod val="160000"/>
              </a:schemeClr>
            </a:gs>
            <a:gs pos="77000">
              <a:schemeClr val="phClr">
                <a:tint val="100000"/>
                <a:shade val="73000"/>
                <a:satMod val="155000"/>
              </a:schemeClr>
            </a:gs>
            <a:gs pos="100000">
              <a:schemeClr val="phClr">
                <a:tint val="100000"/>
                <a:shade val="67000"/>
                <a:satMod val="145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Savon" id="{1306E473-ED32-493B-A2D0-240A757EDD34}" vid="{C20BADFE-D095-436F-9677-9264042809F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471E862B814140A2B4CF3669BC62E8" ma:contentTypeVersion="1" ma:contentTypeDescription="Create a new document." ma:contentTypeScope="" ma:versionID="688afe794e7c62181ac58d81e86c6ada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B93CC1-6829-4E2B-88B1-D4640821F25C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9E24AA3-5CF0-4FA9-836A-DB0601D2B47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FBE3DC-E60E-430C-82C4-88090B94A4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3457510[[fn=Savon]]</Template>
  <TotalTime>5833</TotalTime>
  <Words>178</Words>
  <Application>Microsoft Macintosh PowerPoint</Application>
  <PresentationFormat>Другой</PresentationFormat>
  <Paragraphs>38</Paragraphs>
  <Slides>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Savo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cino Pharma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two lines or  three lines</dc:title>
  <dc:creator>Rory Fitzpatrick</dc:creator>
  <dc:description>Presentation template – Office 2013;_x000d_
Version 001;_x000d_
2016-06-14;</dc:description>
  <cp:lastModifiedBy>Елена Кузьмичева</cp:lastModifiedBy>
  <cp:revision>962</cp:revision>
  <cp:lastPrinted>2018-11-15T08:20:50Z</cp:lastPrinted>
  <dcterms:created xsi:type="dcterms:W3CDTF">2016-10-10T08:24:00Z</dcterms:created>
  <dcterms:modified xsi:type="dcterms:W3CDTF">2021-12-06T19:2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STRICHPUNKT</vt:lpwstr>
  </property>
  <property fmtid="{D5CDD505-2E9C-101B-9397-08002B2CF9AE}" pid="3" name="Create date">
    <vt:lpwstr>2016-06-07</vt:lpwstr>
  </property>
  <property fmtid="{D5CDD505-2E9C-101B-9397-08002B2CF9AE}" pid="4" name="Editor">
    <vt:lpwstr>gadamovich | office implementation</vt:lpwstr>
  </property>
  <property fmtid="{D5CDD505-2E9C-101B-9397-08002B2CF9AE}" pid="5" name="Version">
    <vt:lpwstr>001</vt:lpwstr>
  </property>
  <property fmtid="{D5CDD505-2E9C-101B-9397-08002B2CF9AE}" pid="6" name="Version date">
    <vt:lpwstr>2016-06-14</vt:lpwstr>
  </property>
  <property fmtid="{D5CDD505-2E9C-101B-9397-08002B2CF9AE}" pid="7" name="ContentTypeId">
    <vt:lpwstr>0x01010019471E862B814140A2B4CF3669BC62E8</vt:lpwstr>
  </property>
</Properties>
</file>